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2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15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428571428571429E-2"/>
          <c:y val="7.1060382916053016E-2"/>
          <c:w val="0.97714285714285709"/>
          <c:h val="0.8578792341678939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2FF-4698-A0CD-8A9CF01856BA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zh-CN" altLang="en-US" sz="1400" b="0" i="0" u="none" strike="noStrike" kern="1200" baseline="0" dirty="0">
                        <a:solidFill>
                          <a:prstClr val="white"/>
                        </a:solidFill>
                      </a:rPr>
                      <a:t>请手动填入</a:t>
                    </a:r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2FF-4698-A0CD-8A9CF01856B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00</c:v>
                </c:pt>
                <c:pt idx="1">
                  <c:v>240</c:v>
                </c:pt>
                <c:pt idx="2">
                  <c:v>455</c:v>
                </c:pt>
                <c:pt idx="3">
                  <c:v>525</c:v>
                </c:pt>
                <c:pt idx="4">
                  <c:v>565</c:v>
                </c:pt>
                <c:pt idx="5">
                  <c:v>56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FF-4698-A0CD-8A9CF01856BA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32FF-4698-A0CD-8A9CF01856BA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zh-CN" altLang="en-US" sz="1400" b="0" i="0" u="none" strike="noStrike" kern="1200" baseline="0" dirty="0">
                        <a:solidFill>
                          <a:prstClr val="white"/>
                        </a:solidFill>
                      </a:rPr>
                      <a:t>请手动填入</a:t>
                    </a:r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2FF-4698-A0CD-8A9CF01856B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zh-CN" altLang="en-US" sz="1400" b="0" i="0" u="none" strike="noStrike" kern="1200" baseline="0" dirty="0">
                        <a:solidFill>
                          <a:prstClr val="white"/>
                        </a:solidFill>
                      </a:rPr>
                      <a:t>请手动填入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zh-CN" altLang="en-US" dirty="0"/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2FF-4698-A0CD-8A9CF01856B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500</c:v>
                </c:pt>
                <c:pt idx="1">
                  <c:v>120</c:v>
                </c:pt>
                <c:pt idx="2">
                  <c:v>50</c:v>
                </c:pt>
                <c:pt idx="3">
                  <c:v>25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2FF-4698-A0CD-8A9CF01856BA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2FF-4698-A0CD-8A9CF01856BA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zh-CN" altLang="en-US" dirty="0"/>
                      <a:t>请手动填入</a:t>
                    </a:r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2FF-4698-A0CD-8A9CF01856B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zh-CN" altLang="en-US" sz="1400" b="0" i="0" u="none" strike="noStrike" kern="1200" baseline="0" dirty="0">
                        <a:solidFill>
                          <a:prstClr val="white"/>
                        </a:solidFill>
                      </a:rPr>
                      <a:t>请手动填入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zh-CN" altLang="en-US" dirty="0"/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2FF-4698-A0CD-8A9CF01856B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zh-CN" altLang="en-US" sz="1400" b="0" i="0" u="none" strike="noStrike" kern="1200" baseline="0" dirty="0">
                        <a:solidFill>
                          <a:prstClr val="white"/>
                        </a:solidFill>
                      </a:rPr>
                      <a:t>请手动填入</a:t>
                    </a:r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2FF-4698-A0CD-8A9CF01856BA}"/>
                </c:ext>
              </c:extLst>
            </c:dLbl>
            <c:dLbl>
              <c:idx val="3"/>
              <c:layout>
                <c:manualLayout>
                  <c:x val="2.2637362637362636E-2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zh-CN" altLang="en-US" sz="1400" b="0" i="0" u="none" strike="noStrike" kern="1200" baseline="0" dirty="0">
                        <a:solidFill>
                          <a:prstClr val="white"/>
                        </a:solidFill>
                      </a:rPr>
                      <a:t>请手动填入</a:t>
                    </a:r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2FF-4698-A0CD-8A9CF01856BA}"/>
                </c:ext>
              </c:extLst>
            </c:dLbl>
            <c:dLbl>
              <c:idx val="4"/>
              <c:layout>
                <c:manualLayout>
                  <c:x val="1.5824175824175824E-2"/>
                  <c:y val="0.10419734904270987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zh-CN" altLang="en-US" sz="1400" b="0" i="0" u="none" strike="noStrike" kern="1200" baseline="0" dirty="0">
                        <a:solidFill>
                          <a:prstClr val="white"/>
                        </a:solidFill>
                      </a:rPr>
                      <a:t>请手动填入</a:t>
                    </a:r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32FF-4698-A0CD-8A9CF01856BA}"/>
                </c:ext>
              </c:extLst>
            </c:dLbl>
            <c:dLbl>
              <c:idx val="5"/>
              <c:layout>
                <c:manualLayout>
                  <c:x val="1.5604395604395605E-2"/>
                  <c:y val="0.10235640648011782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zh-CN" altLang="en-US" sz="1400" b="0" i="0" u="none" strike="noStrike" kern="1200" baseline="0" dirty="0">
                        <a:solidFill>
                          <a:prstClr val="white"/>
                        </a:solidFill>
                      </a:rPr>
                      <a:t>请手动填入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zh-CN" altLang="en-US" dirty="0"/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2FF-4698-A0CD-8A9CF01856B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0">
                  <c:v>450</c:v>
                </c:pt>
                <c:pt idx="1">
                  <c:v>350</c:v>
                </c:pt>
                <c:pt idx="2">
                  <c:v>120</c:v>
                </c:pt>
                <c:pt idx="3">
                  <c:v>60</c:v>
                </c:pt>
                <c:pt idx="4">
                  <c:v>15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2FF-4698-A0CD-8A9CF01856BA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3.6818851251840942E-4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zh-CN" altLang="en-US" sz="1400" b="0" i="0" u="none" strike="noStrike" kern="1200" baseline="0" dirty="0">
                        <a:solidFill>
                          <a:prstClr val="white"/>
                        </a:solidFill>
                      </a:rPr>
                      <a:t>请手动填入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zh-CN" altLang="en-US" dirty="0"/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32FF-4698-A0CD-8A9CF01856B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zh-CN" altLang="en-US" sz="1400" b="0" i="0" u="none" strike="noStrike" kern="1200" baseline="0" dirty="0">
                        <a:solidFill>
                          <a:prstClr val="white"/>
                        </a:solidFill>
                      </a:rPr>
                      <a:t>请手动填入</a:t>
                    </a:r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32FF-4698-A0CD-8A9CF01856BA}"/>
                </c:ext>
              </c:extLst>
            </c:dLbl>
            <c:dLbl>
              <c:idx val="4"/>
              <c:layout>
                <c:manualLayout>
                  <c:x val="2.0879120879120878E-2"/>
                  <c:y val="6.2223858615611194E-2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zh-CN" altLang="en-US" sz="1400" b="0" i="0" u="none" strike="noStrike" kern="1200" baseline="0" dirty="0">
                        <a:solidFill>
                          <a:prstClr val="white"/>
                        </a:solidFill>
                      </a:rPr>
                      <a:t>请手动填入</a:t>
                    </a:r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32FF-4698-A0CD-8A9CF01856BA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32FF-4698-A0CD-8A9CF01856B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F$4</c:f>
              <c:numCache>
                <c:formatCode>General</c:formatCode>
                <c:ptCount val="6"/>
                <c:pt idx="1">
                  <c:v>200</c:v>
                </c:pt>
                <c:pt idx="2">
                  <c:v>70</c:v>
                </c:pt>
                <c:pt idx="3">
                  <c:v>15</c:v>
                </c:pt>
                <c:pt idx="4">
                  <c:v>5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32FF-4698-A0CD-8A9CF01856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79547023"/>
        <c:axId val="1"/>
      </c:barChart>
      <c:catAx>
        <c:axId val="979547023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5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795470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  <c:userShapes r:id="rId2"/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15277</cdr:x>
      <cdr:y>0.08767</cdr:y>
    </cdr:to>
    <cdr:pic>
      <cdr:nvPicPr>
        <cdr:cNvPr id="2" name="chart">
          <a:extLst xmlns:a="http://schemas.openxmlformats.org/drawingml/2006/main">
            <a:ext uri="{FF2B5EF4-FFF2-40B4-BE49-F238E27FC236}">
              <a16:creationId xmlns:a16="http://schemas.microsoft.com/office/drawing/2014/main" id="{81E6A8D2-0295-4C57-B755-79115519B3F4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103472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5277</cdr:x>
      <cdr:y>0.08767</cdr:y>
    </cdr:to>
    <cdr:pic>
      <cdr:nvPicPr>
        <cdr:cNvPr id="3" name="chart">
          <a:extLst xmlns:a="http://schemas.openxmlformats.org/drawingml/2006/main">
            <a:ext uri="{FF2B5EF4-FFF2-40B4-BE49-F238E27FC236}">
              <a16:creationId xmlns:a16="http://schemas.microsoft.com/office/drawing/2014/main" id="{BA0C0BFF-7451-4349-AF38-65964366709A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103472" cy="377985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050C9A-E5C8-457D-A64C-72013BD85612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C10DB3-5734-49B5-8E94-E6FF1424FB0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11412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1549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733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546917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026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74818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913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668165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slideLayout" Target="../slideLayouts/slideLayout5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image" Target="../media/image4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oleObject" Target="../embeddings/oleObject5.bin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notesSlide" Target="../notesSlides/notesSlide1.xml"/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chart" Target="../charts/chart1.xml"/><Relationship Id="rId20" Type="http://schemas.openxmlformats.org/officeDocument/2006/relationships/tags" Target="../tags/tag23.xml"/><Relationship Id="rId41" Type="http://schemas.openxmlformats.org/officeDocument/2006/relationships/tags" Target="../tags/tag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44" imgW="349" imgH="350" progId="TCLayout.ActiveDocument.1">
                  <p:embed/>
                </p:oleObj>
              </mc:Choice>
              <mc:Fallback>
                <p:oleObj name="think-cell 幻灯片" r:id="rId4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29DB2F0B-807C-3BFF-C602-8E3F51B2F8C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65058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funnels, pipelines, conversion, waterfall, think-cell, chart, charts, graph, graphs, comment</a:t>
            </a:r>
          </a:p>
        </p:txBody>
      </p:sp>
      <p:sp>
        <p:nvSpPr>
          <p:cNvPr id="18" name="Rechteck 137">
            <a:extLst>
              <a:ext uri="{FF2B5EF4-FFF2-40B4-BE49-F238E27FC236}">
                <a16:creationId xmlns:a16="http://schemas.microsoft.com/office/drawing/2014/main" id="{08CAEA16-DD6E-611B-01F6-430198733330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content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19" name="tc_columnheader">
            <a:extLst>
              <a:ext uri="{FF2B5EF4-FFF2-40B4-BE49-F238E27FC236}">
                <a16:creationId xmlns:a16="http://schemas.microsoft.com/office/drawing/2014/main" id="{88296D28-85D0-40E4-0FA4-40BE96908756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20" name="tc_columnhead">
              <a:extLst>
                <a:ext uri="{FF2B5EF4-FFF2-40B4-BE49-F238E27FC236}">
                  <a16:creationId xmlns:a16="http://schemas.microsoft.com/office/drawing/2014/main" id="{5652FEBD-8EDB-85B4-F1AA-FB0E75DFBF7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</a:t>
              </a:r>
              <a:r>
                <a:rPr kumimoji="0" lang="en-US" altLang="zh-CN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rt_title</a:t>
              </a: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21" name="tc_columnheadline">
              <a:extLst>
                <a:ext uri="{FF2B5EF4-FFF2-40B4-BE49-F238E27FC236}">
                  <a16:creationId xmlns:a16="http://schemas.microsoft.com/office/drawing/2014/main" id="{C5BAA1F2-C084-695D-E303-FA6FBA9A04E4}"/>
                </a:ext>
              </a:extLst>
            </p:cNvPr>
            <p:cNvCxnSpPr>
              <a:cxnSpLocks/>
              <a:stCxn id="20" idx="4"/>
              <a:endCxn id="2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tc_columnheader">
            <a:extLst>
              <a:ext uri="{FF2B5EF4-FFF2-40B4-BE49-F238E27FC236}">
                <a16:creationId xmlns:a16="http://schemas.microsoft.com/office/drawing/2014/main" id="{A49FE862-ABA7-8DCD-EDCC-FEEECE1E63A4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23" name="tc_columnhead">
              <a:extLst>
                <a:ext uri="{FF2B5EF4-FFF2-40B4-BE49-F238E27FC236}">
                  <a16:creationId xmlns:a16="http://schemas.microsoft.com/office/drawing/2014/main" id="{B568D603-8285-A1AA-5848-86DB9AED0F7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24" name="tc_columnheadline">
              <a:extLst>
                <a:ext uri="{FF2B5EF4-FFF2-40B4-BE49-F238E27FC236}">
                  <a16:creationId xmlns:a16="http://schemas.microsoft.com/office/drawing/2014/main" id="{9CF6B69A-AF1B-FAFF-AC27-486A01ACA84B}"/>
                </a:ext>
              </a:extLst>
            </p:cNvPr>
            <p:cNvCxnSpPr>
              <a:cxnSpLocks/>
              <a:stCxn id="23" idx="4"/>
              <a:endCxn id="2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7D119D21-5C1B-A5DD-211A-042B7CBFCCBA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2009774" y="5026025"/>
            <a:ext cx="522288" cy="771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498B8DD8-B0B8-8FB2-7E28-95985CEA898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009775" y="2098675"/>
            <a:ext cx="384175" cy="5667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7C4C2E98-27A5-9F20-2552-4EA316A8E96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514600" y="2844800"/>
            <a:ext cx="17463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C8EE3D24-7210-74B2-452F-2F1A54D1210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3186113" y="4333875"/>
            <a:ext cx="522288" cy="692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E6D908BC-D077-9F0C-9E58-FDAFFEB5831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186113" y="2870200"/>
            <a:ext cx="379413" cy="5032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5" name="Straight Connector 364">
            <a:extLst>
              <a:ext uri="{FF2B5EF4-FFF2-40B4-BE49-F238E27FC236}">
                <a16:creationId xmlns:a16="http://schemas.microsoft.com/office/drawing/2014/main" id="{13ADE283-8A31-4592-89D2-0652AD74ED4A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3689349" y="3536950"/>
            <a:ext cx="1905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706C7E5E-761F-CF90-DE15-92118B1CBE1C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4362449" y="4108450"/>
            <a:ext cx="522288" cy="225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557BEB75-B246-24E6-AFD2-F4D73AF3401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4362449" y="3562350"/>
            <a:ext cx="522288" cy="225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89496DBE-634E-7888-EBDE-8EE198791AC2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5538788" y="3979863"/>
            <a:ext cx="522288" cy="128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1" name="Straight Connector 280">
            <a:extLst>
              <a:ext uri="{FF2B5EF4-FFF2-40B4-BE49-F238E27FC236}">
                <a16:creationId xmlns:a16="http://schemas.microsoft.com/office/drawing/2014/main" id="{218C1A32-0B6B-EBB0-34DD-E1F42F9CA2E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5538788" y="3787775"/>
            <a:ext cx="522288" cy="128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67B888B8-C3A3-418C-8201-C24CA3296E2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6715124" y="3971925"/>
            <a:ext cx="522288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57F3276B-E9C8-5890-C4E8-76198EF668EE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715124" y="3916363"/>
            <a:ext cx="522288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3" name="Chart 3">
            <a:extLst>
              <a:ext uri="{FF2B5EF4-FFF2-40B4-BE49-F238E27FC236}">
                <a16:creationId xmlns:a16="http://schemas.microsoft.com/office/drawing/2014/main" id="{D117AD3F-66F1-4AFF-A1D0-896398C668ED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27414761"/>
              </p:ext>
            </p:extLst>
          </p:nvPr>
        </p:nvGraphicFramePr>
        <p:xfrm>
          <a:off x="1012825" y="1792288"/>
          <a:ext cx="7223125" cy="431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350" name="Straight Connector 349">
            <a:extLst>
              <a:ext uri="{FF2B5EF4-FFF2-40B4-BE49-F238E27FC236}">
                <a16:creationId xmlns:a16="http://schemas.microsoft.com/office/drawing/2014/main" id="{1CD7CC0D-6922-198F-BB29-089B892D9F4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6565900" y="3924300"/>
            <a:ext cx="0" cy="161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6" name="Straight Connector 345">
            <a:extLst>
              <a:ext uri="{FF2B5EF4-FFF2-40B4-BE49-F238E27FC236}">
                <a16:creationId xmlns:a16="http://schemas.microsoft.com/office/drawing/2014/main" id="{5682BC92-78F4-35CC-5112-68EE1E755A02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6621463" y="4405313"/>
            <a:ext cx="19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9" name="Straight Connector 348">
            <a:extLst>
              <a:ext uri="{FF2B5EF4-FFF2-40B4-BE49-F238E27FC236}">
                <a16:creationId xmlns:a16="http://schemas.microsoft.com/office/drawing/2014/main" id="{1AD72778-430E-2A21-9F8C-1A39EAAF76C4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V="1">
            <a:off x="6640513" y="3956050"/>
            <a:ext cx="0" cy="449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2" name="Straight Connector 351">
            <a:extLst>
              <a:ext uri="{FF2B5EF4-FFF2-40B4-BE49-F238E27FC236}">
                <a16:creationId xmlns:a16="http://schemas.microsoft.com/office/drawing/2014/main" id="{D337DAD4-35AE-D8AC-24A5-8C2BBDC18422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7797800" y="4397375"/>
            <a:ext cx="19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9D3DF31C-3B6F-66EC-09AB-473AEFD1C567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V="1">
            <a:off x="7816850" y="3956050"/>
            <a:ext cx="0" cy="441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B2E935D0-F726-959D-2623-121B96DCF1DE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V="1">
            <a:off x="7742238" y="3932238"/>
            <a:ext cx="0" cy="1460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482724" y="5856288"/>
            <a:ext cx="4000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598738" y="5856288"/>
            <a:ext cx="520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895725" y="4146550"/>
            <a:ext cx="279400" cy="2127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sz="1400" dirty="0"/>
              <a:t>请手动填入</a:t>
            </a:r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770313" y="5856288"/>
            <a:ext cx="530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3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29189" y="3705225"/>
            <a:ext cx="238125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sz="1400" dirty="0"/>
              <a:t>请手动填入</a:t>
            </a:r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911725" y="3962400"/>
            <a:ext cx="274638" cy="2127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sz="1400" dirty="0"/>
              <a:t>请手动填入</a:t>
            </a: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DF39BB1E-B539-6B5C-F7E9-8F200AFE602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818063" y="5856288"/>
            <a:ext cx="788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4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05549" y="3873500"/>
            <a:ext cx="166688" cy="2127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sz="1400" dirty="0"/>
              <a:t>请手动填入</a:t>
            </a: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663CAADE-DDA6-A4F7-A4C3-B26AF9588A6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086475" y="5856288"/>
            <a:ext cx="604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5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B4F9E5B9-D058-C6F8-25E7-2DE3336BC7D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481887" y="3865563"/>
            <a:ext cx="166688" cy="2127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921F91-5CE5-46E0-96C1-26788B537646}" type="datetime'''''''''''''''''''''''''''''''''''0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r>
              <a:rPr lang="zh-CN" altLang="en-US" sz="1400" dirty="0"/>
              <a:t>请手动填入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97B08B03-7CEC-4F8D-55E4-08BF143F1E7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997700" y="5856288"/>
            <a:ext cx="11350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6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33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74650" y="2716213"/>
            <a:ext cx="838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channel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38138" y="4243388"/>
            <a:ext cx="874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channel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441450" y="1860550"/>
            <a:ext cx="482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dirty="0">
                <a:solidFill>
                  <a:srgbClr val="F2F2F2">
                    <a:lumMod val="10000"/>
                  </a:srgbClr>
                </a:solidFill>
                <a:latin typeface="理想品牌字体 2022"/>
                <a:ea typeface="理想品牌字体 2022"/>
              </a:rPr>
              <a:t>{number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393950" y="2632075"/>
            <a:ext cx="930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number_2}</a:t>
            </a: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565524" y="3324225"/>
            <a:ext cx="9413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number_3}</a:t>
            </a: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756150" y="3492500"/>
            <a:ext cx="911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number_4}</a:t>
            </a:r>
          </a:p>
        </p:txBody>
      </p:sp>
      <p:sp>
        <p:nvSpPr>
          <p:cNvPr id="19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972175" y="3652838"/>
            <a:ext cx="833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number_5}</a:t>
            </a: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7177088" y="3652838"/>
            <a:ext cx="776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number_6}</a:t>
            </a:r>
          </a:p>
        </p:txBody>
      </p:sp>
      <p:sp>
        <p:nvSpPr>
          <p:cNvPr id="3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39725" y="5368925"/>
            <a:ext cx="873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channel_3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509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eqLtvwy162OgZ69YPV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0GjTh_uZojIotwIId5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5LFlCftl2_sv1SOPum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MHlG_QoF4yCL3MyEzH0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hU1fNXKgGvX4tIuo8r9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9zkHhwQ6FPiF0fQVbB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2EleauBmJjWMQSMx42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AVJUwXVzMff7v.g00S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.GcnPXvMdG6ILwaK1J6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yaaIsWXamxZiy5Z1P6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7r6cekbThjkJjCtXTB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YNx4Ubhze7pd1Xe7d1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xfp9idjiOihe9iAcPp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95bWWeHJ8jOZ0VoTGw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VXhlc2lFpTJC8R18pQd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CsY1p3cCniBtUyPmEZC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KWAcoy6YHPC0fRdJD5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0JhVJZGcM0P2dY8mZq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WwKE1M2A1897H78Mt70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YQsk7AlDmFdX.spe9u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HQAUcn7k53dFmHjLbSA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o5KB6yKyBUe_Ol2Lsn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ctc69IvUH2px4WmaSp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CA0X_OlvBt4qDPA_EJ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ciYQUOXjbJkp9_OPLF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DlbbgBIqFC5MJkI71Mf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8cAVyuqUcwEJK97Frs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m575IkYlUFhmjBTA0bn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3ErmENUatdhOJcM2gse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D7VdjpANAHptN2Md7Z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9ssakD.a7qynIO2UJ5c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l15GjmLx7rAmfqLLT2R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cOyZb9URaat6tDyxUuc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R_3rLfR0a0ECVFvn9u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KArG3XMQFAbFeyzb_8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J0uFRIFn.5WnK2QP1H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Aob_mGivp8MF_WL65k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ofZT.sm5LMFG2uRwvi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JNWGm.RK9rm8erzT4ZNw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163</Words>
  <Application>Microsoft Office PowerPoint</Application>
  <PresentationFormat>宽屏</PresentationFormat>
  <Paragraphs>3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3:28:46Z</dcterms:created>
  <dcterms:modified xsi:type="dcterms:W3CDTF">2025-09-09T03:33:47Z</dcterms:modified>
</cp:coreProperties>
</file>